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F4B1F2-9DA3-382E-FA7A-0DBE984B7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F677478D-81E3-6023-E450-7CA69501042B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267" y="3773862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93DE1E-FC18-676E-2C0D-9B316A0A4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93DE1E-FC18-676E-2C0D-9B316A0A4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46D33B-14A8-2FAB-6320-E5A6E1BFC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44FE03-1DCF-ECB3-BF0E-6701F142F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Semi circle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36A8A59-0239-6404-132B-33A53CEBD06F}"/>
              </a:ext>
            </a:extLst>
          </p:cNvPr>
          <p:cNvSpPr/>
          <p:nvPr/>
        </p:nvSpPr>
        <p:spPr>
          <a:xfrm>
            <a:off x="4820523" y="2776997"/>
            <a:ext cx="2571678" cy="1214069"/>
          </a:xfrm>
          <a:custGeom>
            <a:avLst/>
            <a:gdLst>
              <a:gd name="connsiteX0" fmla="*/ 1117792 w 2571678"/>
              <a:gd name="connsiteY0" fmla="*/ 168 h 1531560"/>
              <a:gd name="connsiteX1" fmla="*/ 2551924 w 2571678"/>
              <a:gd name="connsiteY1" fmla="*/ 312111 h 1531560"/>
              <a:gd name="connsiteX2" fmla="*/ 2571678 w 2571678"/>
              <a:gd name="connsiteY2" fmla="*/ 322192 h 1531560"/>
              <a:gd name="connsiteX3" fmla="*/ 2191346 w 2571678"/>
              <a:gd name="connsiteY3" fmla="*/ 1214069 h 1531560"/>
              <a:gd name="connsiteX4" fmla="*/ 2133370 w 2571678"/>
              <a:gd name="connsiteY4" fmla="*/ 1184753 h 1531560"/>
              <a:gd name="connsiteX5" fmla="*/ 1494659 w 2571678"/>
              <a:gd name="connsiteY5" fmla="*/ 993171 h 1531560"/>
              <a:gd name="connsiteX6" fmla="*/ 1413959 w 2571678"/>
              <a:gd name="connsiteY6" fmla="*/ 985054 h 1531560"/>
              <a:gd name="connsiteX7" fmla="*/ 1255335 w 2571678"/>
              <a:gd name="connsiteY7" fmla="*/ 1531560 h 1531560"/>
              <a:gd name="connsiteX8" fmla="*/ 1125921 w 2571678"/>
              <a:gd name="connsiteY8" fmla="*/ 970209 h 1531560"/>
              <a:gd name="connsiteX9" fmla="*/ 1054172 w 2571678"/>
              <a:gd name="connsiteY9" fmla="*/ 969799 h 1531560"/>
              <a:gd name="connsiteX10" fmla="*/ 402935 w 2571678"/>
              <a:gd name="connsiteY10" fmla="*/ 1090947 h 1531560"/>
              <a:gd name="connsiteX11" fmla="*/ 379810 w 2571678"/>
              <a:gd name="connsiteY11" fmla="*/ 1099622 h 1531560"/>
              <a:gd name="connsiteX12" fmla="*/ 0 w 2571678"/>
              <a:gd name="connsiteY12" fmla="*/ 208969 h 1531560"/>
              <a:gd name="connsiteX13" fmla="*/ 84111 w 2571678"/>
              <a:gd name="connsiteY13" fmla="*/ 177139 h 1531560"/>
              <a:gd name="connsiteX14" fmla="*/ 1117792 w 2571678"/>
              <a:gd name="connsiteY14" fmla="*/ 168 h 1531560"/>
              <a:gd name="connsiteX0" fmla="*/ 1117792 w 2571678"/>
              <a:gd name="connsiteY0" fmla="*/ 168 h 1214069"/>
              <a:gd name="connsiteX1" fmla="*/ 2551924 w 2571678"/>
              <a:gd name="connsiteY1" fmla="*/ 312111 h 1214069"/>
              <a:gd name="connsiteX2" fmla="*/ 2571678 w 2571678"/>
              <a:gd name="connsiteY2" fmla="*/ 322192 h 1214069"/>
              <a:gd name="connsiteX3" fmla="*/ 2191346 w 2571678"/>
              <a:gd name="connsiteY3" fmla="*/ 1214069 h 1214069"/>
              <a:gd name="connsiteX4" fmla="*/ 2133370 w 2571678"/>
              <a:gd name="connsiteY4" fmla="*/ 1184753 h 1214069"/>
              <a:gd name="connsiteX5" fmla="*/ 1494659 w 2571678"/>
              <a:gd name="connsiteY5" fmla="*/ 993171 h 1214069"/>
              <a:gd name="connsiteX6" fmla="*/ 1413959 w 2571678"/>
              <a:gd name="connsiteY6" fmla="*/ 985054 h 1214069"/>
              <a:gd name="connsiteX7" fmla="*/ 1125921 w 2571678"/>
              <a:gd name="connsiteY7" fmla="*/ 970209 h 1214069"/>
              <a:gd name="connsiteX8" fmla="*/ 1054172 w 2571678"/>
              <a:gd name="connsiteY8" fmla="*/ 969799 h 1214069"/>
              <a:gd name="connsiteX9" fmla="*/ 402935 w 2571678"/>
              <a:gd name="connsiteY9" fmla="*/ 1090947 h 1214069"/>
              <a:gd name="connsiteX10" fmla="*/ 379810 w 2571678"/>
              <a:gd name="connsiteY10" fmla="*/ 1099622 h 1214069"/>
              <a:gd name="connsiteX11" fmla="*/ 0 w 2571678"/>
              <a:gd name="connsiteY11" fmla="*/ 208969 h 1214069"/>
              <a:gd name="connsiteX12" fmla="*/ 84111 w 2571678"/>
              <a:gd name="connsiteY12" fmla="*/ 177139 h 1214069"/>
              <a:gd name="connsiteX13" fmla="*/ 1117792 w 2571678"/>
              <a:gd name="connsiteY13" fmla="*/ 168 h 1214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71678" h="1214069">
                <a:moveTo>
                  <a:pt x="1117792" y="168"/>
                </a:moveTo>
                <a:cubicBezTo>
                  <a:pt x="1607503" y="-4774"/>
                  <a:pt x="2098336" y="99078"/>
                  <a:pt x="2551924" y="312111"/>
                </a:cubicBezTo>
                <a:lnTo>
                  <a:pt x="2571678" y="322192"/>
                </a:lnTo>
                <a:lnTo>
                  <a:pt x="2191346" y="1214069"/>
                </a:lnTo>
                <a:lnTo>
                  <a:pt x="2133370" y="1184753"/>
                </a:lnTo>
                <a:cubicBezTo>
                  <a:pt x="1928810" y="1089548"/>
                  <a:pt x="1713543" y="1025712"/>
                  <a:pt x="1494659" y="993171"/>
                </a:cubicBezTo>
                <a:lnTo>
                  <a:pt x="1413959" y="985054"/>
                </a:lnTo>
                <a:lnTo>
                  <a:pt x="1125921" y="970209"/>
                </a:lnTo>
                <a:lnTo>
                  <a:pt x="1054172" y="969799"/>
                </a:lnTo>
                <a:cubicBezTo>
                  <a:pt x="833619" y="978956"/>
                  <a:pt x="614176" y="1019362"/>
                  <a:pt x="402935" y="1090947"/>
                </a:cubicBezTo>
                <a:lnTo>
                  <a:pt x="379810" y="1099622"/>
                </a:lnTo>
                <a:lnTo>
                  <a:pt x="0" y="208969"/>
                </a:lnTo>
                <a:lnTo>
                  <a:pt x="84111" y="177139"/>
                </a:lnTo>
                <a:cubicBezTo>
                  <a:pt x="418778" y="62736"/>
                  <a:pt x="767999" y="3698"/>
                  <a:pt x="1117792" y="16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7D7F91E-7C07-CDAA-DEC9-93B08359D692}"/>
              </a:ext>
            </a:extLst>
          </p:cNvPr>
          <p:cNvSpPr/>
          <p:nvPr/>
        </p:nvSpPr>
        <p:spPr>
          <a:xfrm>
            <a:off x="2676220" y="4516585"/>
            <a:ext cx="1279731" cy="1531500"/>
          </a:xfrm>
          <a:custGeom>
            <a:avLst/>
            <a:gdLst>
              <a:gd name="connsiteX0" fmla="*/ 370826 w 1616583"/>
              <a:gd name="connsiteY0" fmla="*/ 0 h 1531500"/>
              <a:gd name="connsiteX1" fmla="*/ 1279731 w 1616583"/>
              <a:gd name="connsiteY1" fmla="*/ 354535 h 1531500"/>
              <a:gd name="connsiteX2" fmla="*/ 1266365 w 1616583"/>
              <a:gd name="connsiteY2" fmla="*/ 376097 h 1531500"/>
              <a:gd name="connsiteX3" fmla="*/ 1083960 w 1616583"/>
              <a:gd name="connsiteY3" fmla="*/ 781028 h 1531500"/>
              <a:gd name="connsiteX4" fmla="*/ 1076326 w 1616583"/>
              <a:gd name="connsiteY4" fmla="*/ 806532 h 1531500"/>
              <a:gd name="connsiteX5" fmla="*/ 1616583 w 1616583"/>
              <a:gd name="connsiteY5" fmla="*/ 1066371 h 1531500"/>
              <a:gd name="connsiteX6" fmla="*/ 1002651 w 1616583"/>
              <a:gd name="connsiteY6" fmla="*/ 1103729 h 1531500"/>
              <a:gd name="connsiteX7" fmla="*/ 984696 w 1616583"/>
              <a:gd name="connsiteY7" fmla="*/ 1217191 h 1531500"/>
              <a:gd name="connsiteX8" fmla="*/ 967964 w 1616583"/>
              <a:gd name="connsiteY8" fmla="*/ 1519661 h 1531500"/>
              <a:gd name="connsiteX9" fmla="*/ 250 w 1616583"/>
              <a:gd name="connsiteY9" fmla="*/ 1531500 h 1531500"/>
              <a:gd name="connsiteX10" fmla="*/ 324105 w 1616583"/>
              <a:gd name="connsiteY10" fmla="*/ 88370 h 1531500"/>
              <a:gd name="connsiteX0" fmla="*/ 370826 w 1279731"/>
              <a:gd name="connsiteY0" fmla="*/ 0 h 1531500"/>
              <a:gd name="connsiteX1" fmla="*/ 1279731 w 1279731"/>
              <a:gd name="connsiteY1" fmla="*/ 354535 h 1531500"/>
              <a:gd name="connsiteX2" fmla="*/ 1266365 w 1279731"/>
              <a:gd name="connsiteY2" fmla="*/ 376097 h 1531500"/>
              <a:gd name="connsiteX3" fmla="*/ 1083960 w 1279731"/>
              <a:gd name="connsiteY3" fmla="*/ 781028 h 1531500"/>
              <a:gd name="connsiteX4" fmla="*/ 1076326 w 1279731"/>
              <a:gd name="connsiteY4" fmla="*/ 806532 h 1531500"/>
              <a:gd name="connsiteX5" fmla="*/ 1002651 w 1279731"/>
              <a:gd name="connsiteY5" fmla="*/ 1103729 h 1531500"/>
              <a:gd name="connsiteX6" fmla="*/ 984696 w 1279731"/>
              <a:gd name="connsiteY6" fmla="*/ 1217191 h 1531500"/>
              <a:gd name="connsiteX7" fmla="*/ 967964 w 1279731"/>
              <a:gd name="connsiteY7" fmla="*/ 1519661 h 1531500"/>
              <a:gd name="connsiteX8" fmla="*/ 250 w 1279731"/>
              <a:gd name="connsiteY8" fmla="*/ 1531500 h 1531500"/>
              <a:gd name="connsiteX9" fmla="*/ 324105 w 1279731"/>
              <a:gd name="connsiteY9" fmla="*/ 88370 h 1531500"/>
              <a:gd name="connsiteX10" fmla="*/ 370826 w 1279731"/>
              <a:gd name="connsiteY10" fmla="*/ 0 h 15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9731" h="1531500">
                <a:moveTo>
                  <a:pt x="370826" y="0"/>
                </a:moveTo>
                <a:lnTo>
                  <a:pt x="1279731" y="354535"/>
                </a:lnTo>
                <a:lnTo>
                  <a:pt x="1266365" y="376097"/>
                </a:lnTo>
                <a:cubicBezTo>
                  <a:pt x="1192439" y="504596"/>
                  <a:pt x="1131271" y="640210"/>
                  <a:pt x="1083960" y="781028"/>
                </a:cubicBezTo>
                <a:lnTo>
                  <a:pt x="1076326" y="806532"/>
                </a:lnTo>
                <a:lnTo>
                  <a:pt x="1002651" y="1103729"/>
                </a:lnTo>
                <a:lnTo>
                  <a:pt x="984696" y="1217191"/>
                </a:lnTo>
                <a:cubicBezTo>
                  <a:pt x="972364" y="1316738"/>
                  <a:pt x="966678" y="1417750"/>
                  <a:pt x="967964" y="1519661"/>
                </a:cubicBezTo>
                <a:lnTo>
                  <a:pt x="250" y="1531500"/>
                </a:lnTo>
                <a:cubicBezTo>
                  <a:pt x="-6104" y="1023346"/>
                  <a:pt x="108405" y="530825"/>
                  <a:pt x="324105" y="88370"/>
                </a:cubicBezTo>
                <a:lnTo>
                  <a:pt x="37082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1BD7582-A5C4-6874-9E0F-C96A7AE8BD34}"/>
              </a:ext>
            </a:extLst>
          </p:cNvPr>
          <p:cNvSpPr/>
          <p:nvPr/>
        </p:nvSpPr>
        <p:spPr>
          <a:xfrm rot="1996137" flipH="1">
            <a:off x="7842772" y="4580730"/>
            <a:ext cx="1624628" cy="1529536"/>
          </a:xfrm>
          <a:custGeom>
            <a:avLst/>
            <a:gdLst>
              <a:gd name="connsiteX0" fmla="*/ 1059915 w 1653985"/>
              <a:gd name="connsiteY0" fmla="*/ 0 h 1532505"/>
              <a:gd name="connsiteX1" fmla="*/ 903438 w 1653985"/>
              <a:gd name="connsiteY1" fmla="*/ 95632 h 1532505"/>
              <a:gd name="connsiteX2" fmla="*/ 0 w 1653985"/>
              <a:gd name="connsiteY2" fmla="*/ 991951 h 1532505"/>
              <a:gd name="connsiteX3" fmla="*/ 804746 w 1653985"/>
              <a:gd name="connsiteY3" fmla="*/ 1529536 h 1532505"/>
              <a:gd name="connsiteX4" fmla="*/ 964977 w 1653985"/>
              <a:gd name="connsiteY4" fmla="*/ 1318154 h 1532505"/>
              <a:gd name="connsiteX5" fmla="*/ 1026971 w 1653985"/>
              <a:gd name="connsiteY5" fmla="*/ 1253832 h 1532505"/>
              <a:gd name="connsiteX6" fmla="*/ 1653985 w 1653985"/>
              <a:gd name="connsiteY6" fmla="*/ 1532505 h 1532505"/>
              <a:gd name="connsiteX7" fmla="*/ 1273696 w 1653985"/>
              <a:gd name="connsiteY7" fmla="*/ 1025453 h 1532505"/>
              <a:gd name="connsiteX8" fmla="*/ 1348146 w 1653985"/>
              <a:gd name="connsiteY8" fmla="*/ 964419 h 1532505"/>
              <a:gd name="connsiteX9" fmla="*/ 1566359 w 1653985"/>
              <a:gd name="connsiteY9" fmla="*/ 824333 h 1532505"/>
              <a:gd name="connsiteX10" fmla="*/ 1624628 w 1653985"/>
              <a:gd name="connsiteY10" fmla="*/ 793987 h 1532505"/>
              <a:gd name="connsiteX0" fmla="*/ 1059915 w 1624628"/>
              <a:gd name="connsiteY0" fmla="*/ 0 h 1529536"/>
              <a:gd name="connsiteX1" fmla="*/ 903438 w 1624628"/>
              <a:gd name="connsiteY1" fmla="*/ 95632 h 1529536"/>
              <a:gd name="connsiteX2" fmla="*/ 0 w 1624628"/>
              <a:gd name="connsiteY2" fmla="*/ 991951 h 1529536"/>
              <a:gd name="connsiteX3" fmla="*/ 804746 w 1624628"/>
              <a:gd name="connsiteY3" fmla="*/ 1529536 h 1529536"/>
              <a:gd name="connsiteX4" fmla="*/ 964977 w 1624628"/>
              <a:gd name="connsiteY4" fmla="*/ 1318154 h 1529536"/>
              <a:gd name="connsiteX5" fmla="*/ 1026971 w 1624628"/>
              <a:gd name="connsiteY5" fmla="*/ 1253832 h 1529536"/>
              <a:gd name="connsiteX6" fmla="*/ 1273696 w 1624628"/>
              <a:gd name="connsiteY6" fmla="*/ 1025453 h 1529536"/>
              <a:gd name="connsiteX7" fmla="*/ 1348146 w 1624628"/>
              <a:gd name="connsiteY7" fmla="*/ 964419 h 1529536"/>
              <a:gd name="connsiteX8" fmla="*/ 1566359 w 1624628"/>
              <a:gd name="connsiteY8" fmla="*/ 824333 h 1529536"/>
              <a:gd name="connsiteX9" fmla="*/ 1624628 w 1624628"/>
              <a:gd name="connsiteY9" fmla="*/ 793987 h 1529536"/>
              <a:gd name="connsiteX10" fmla="*/ 1059915 w 1624628"/>
              <a:gd name="connsiteY10" fmla="*/ 0 h 152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4628" h="1529536">
                <a:moveTo>
                  <a:pt x="1059915" y="0"/>
                </a:moveTo>
                <a:lnTo>
                  <a:pt x="903438" y="95632"/>
                </a:lnTo>
                <a:cubicBezTo>
                  <a:pt x="550584" y="327514"/>
                  <a:pt x="241948" y="629907"/>
                  <a:pt x="0" y="991951"/>
                </a:cubicBezTo>
                <a:lnTo>
                  <a:pt x="804746" y="1529536"/>
                </a:lnTo>
                <a:cubicBezTo>
                  <a:pt x="854279" y="1455429"/>
                  <a:pt x="907820" y="1384905"/>
                  <a:pt x="964977" y="1318154"/>
                </a:cubicBezTo>
                <a:lnTo>
                  <a:pt x="1026971" y="1253832"/>
                </a:lnTo>
                <a:lnTo>
                  <a:pt x="1273696" y="1025453"/>
                </a:lnTo>
                <a:lnTo>
                  <a:pt x="1348146" y="964419"/>
                </a:lnTo>
                <a:cubicBezTo>
                  <a:pt x="1418187" y="913511"/>
                  <a:pt x="1491056" y="866753"/>
                  <a:pt x="1566359" y="824333"/>
                </a:cubicBezTo>
                <a:lnTo>
                  <a:pt x="1624628" y="793987"/>
                </a:lnTo>
                <a:lnTo>
                  <a:pt x="1059915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05FB6D6-6CBF-BD7F-3C3D-79F4C192D9A0}"/>
              </a:ext>
            </a:extLst>
          </p:cNvPr>
          <p:cNvSpPr/>
          <p:nvPr/>
        </p:nvSpPr>
        <p:spPr>
          <a:xfrm>
            <a:off x="3072856" y="3005403"/>
            <a:ext cx="2047398" cy="1818295"/>
          </a:xfrm>
          <a:custGeom>
            <a:avLst/>
            <a:gdLst>
              <a:gd name="connsiteX0" fmla="*/ 1667650 w 2047398"/>
              <a:gd name="connsiteY0" fmla="*/ 0 h 1818295"/>
              <a:gd name="connsiteX1" fmla="*/ 2047398 w 2047398"/>
              <a:gd name="connsiteY1" fmla="*/ 890506 h 1818295"/>
              <a:gd name="connsiteX2" fmla="*/ 1982408 w 2047398"/>
              <a:gd name="connsiteY2" fmla="*/ 914884 h 1818295"/>
              <a:gd name="connsiteX3" fmla="*/ 1712497 w 2047398"/>
              <a:gd name="connsiteY3" fmla="*/ 1047262 h 1818295"/>
              <a:gd name="connsiteX4" fmla="*/ 1497546 w 2047398"/>
              <a:gd name="connsiteY4" fmla="*/ 1187795 h 1818295"/>
              <a:gd name="connsiteX5" fmla="*/ 1803945 w 2047398"/>
              <a:gd name="connsiteY5" fmla="*/ 1596327 h 1818295"/>
              <a:gd name="connsiteX6" fmla="*/ 1283407 w 2047398"/>
              <a:gd name="connsiteY6" fmla="*/ 1364977 h 1818295"/>
              <a:gd name="connsiteX7" fmla="*/ 1104341 w 2047398"/>
              <a:gd name="connsiteY7" fmla="*/ 1553314 h 1818295"/>
              <a:gd name="connsiteX8" fmla="*/ 947865 w 2047398"/>
              <a:gd name="connsiteY8" fmla="*/ 1761224 h 1818295"/>
              <a:gd name="connsiteX9" fmla="*/ 912489 w 2047398"/>
              <a:gd name="connsiteY9" fmla="*/ 1818295 h 1818295"/>
              <a:gd name="connsiteX10" fmla="*/ 0 w 2047398"/>
              <a:gd name="connsiteY10" fmla="*/ 1462362 h 1818295"/>
              <a:gd name="connsiteX11" fmla="*/ 26047 w 2047398"/>
              <a:gd name="connsiteY11" fmla="*/ 1413096 h 1818295"/>
              <a:gd name="connsiteX12" fmla="*/ 1219459 w 2047398"/>
              <a:gd name="connsiteY12" fmla="*/ 214426 h 1818295"/>
              <a:gd name="connsiteX13" fmla="*/ 1604177 w 2047398"/>
              <a:gd name="connsiteY13" fmla="*/ 24020 h 1818295"/>
              <a:gd name="connsiteX0" fmla="*/ 1667650 w 2047398"/>
              <a:gd name="connsiteY0" fmla="*/ 0 h 1818295"/>
              <a:gd name="connsiteX1" fmla="*/ 2047398 w 2047398"/>
              <a:gd name="connsiteY1" fmla="*/ 890506 h 1818295"/>
              <a:gd name="connsiteX2" fmla="*/ 1982408 w 2047398"/>
              <a:gd name="connsiteY2" fmla="*/ 914884 h 1818295"/>
              <a:gd name="connsiteX3" fmla="*/ 1712497 w 2047398"/>
              <a:gd name="connsiteY3" fmla="*/ 1047262 h 1818295"/>
              <a:gd name="connsiteX4" fmla="*/ 1497546 w 2047398"/>
              <a:gd name="connsiteY4" fmla="*/ 1187795 h 1818295"/>
              <a:gd name="connsiteX5" fmla="*/ 1283407 w 2047398"/>
              <a:gd name="connsiteY5" fmla="*/ 1364977 h 1818295"/>
              <a:gd name="connsiteX6" fmla="*/ 1104341 w 2047398"/>
              <a:gd name="connsiteY6" fmla="*/ 1553314 h 1818295"/>
              <a:gd name="connsiteX7" fmla="*/ 947865 w 2047398"/>
              <a:gd name="connsiteY7" fmla="*/ 1761224 h 1818295"/>
              <a:gd name="connsiteX8" fmla="*/ 912489 w 2047398"/>
              <a:gd name="connsiteY8" fmla="*/ 1818295 h 1818295"/>
              <a:gd name="connsiteX9" fmla="*/ 0 w 2047398"/>
              <a:gd name="connsiteY9" fmla="*/ 1462362 h 1818295"/>
              <a:gd name="connsiteX10" fmla="*/ 26047 w 2047398"/>
              <a:gd name="connsiteY10" fmla="*/ 1413096 h 1818295"/>
              <a:gd name="connsiteX11" fmla="*/ 1219459 w 2047398"/>
              <a:gd name="connsiteY11" fmla="*/ 214426 h 1818295"/>
              <a:gd name="connsiteX12" fmla="*/ 1604177 w 2047398"/>
              <a:gd name="connsiteY12" fmla="*/ 24020 h 1818295"/>
              <a:gd name="connsiteX13" fmla="*/ 1667650 w 2047398"/>
              <a:gd name="connsiteY13" fmla="*/ 0 h 181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7398" h="1818295">
                <a:moveTo>
                  <a:pt x="1667650" y="0"/>
                </a:moveTo>
                <a:lnTo>
                  <a:pt x="2047398" y="890506"/>
                </a:lnTo>
                <a:lnTo>
                  <a:pt x="1982408" y="914884"/>
                </a:lnTo>
                <a:cubicBezTo>
                  <a:pt x="1890299" y="952857"/>
                  <a:pt x="1800121" y="996985"/>
                  <a:pt x="1712497" y="1047262"/>
                </a:cubicBezTo>
                <a:lnTo>
                  <a:pt x="1497546" y="1187795"/>
                </a:lnTo>
                <a:lnTo>
                  <a:pt x="1283407" y="1364977"/>
                </a:lnTo>
                <a:lnTo>
                  <a:pt x="1104341" y="1553314"/>
                </a:lnTo>
                <a:cubicBezTo>
                  <a:pt x="1048111" y="1619727"/>
                  <a:pt x="995879" y="1689157"/>
                  <a:pt x="947865" y="1761224"/>
                </a:cubicBezTo>
                <a:lnTo>
                  <a:pt x="912489" y="1818295"/>
                </a:lnTo>
                <a:lnTo>
                  <a:pt x="0" y="1462362"/>
                </a:lnTo>
                <a:lnTo>
                  <a:pt x="26047" y="1413096"/>
                </a:lnTo>
                <a:cubicBezTo>
                  <a:pt x="305144" y="924586"/>
                  <a:pt x="712737" y="507896"/>
                  <a:pt x="1219459" y="214426"/>
                </a:cubicBezTo>
                <a:cubicBezTo>
                  <a:pt x="1344326" y="142109"/>
                  <a:pt x="1472864" y="78638"/>
                  <a:pt x="1604177" y="24020"/>
                </a:cubicBezTo>
                <a:lnTo>
                  <a:pt x="16676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B414FC6-817B-161D-403B-84918E366EAE}"/>
              </a:ext>
            </a:extLst>
          </p:cNvPr>
          <p:cNvSpPr/>
          <p:nvPr/>
        </p:nvSpPr>
        <p:spPr>
          <a:xfrm rot="5634969">
            <a:off x="7098317" y="3099160"/>
            <a:ext cx="1712159" cy="1840414"/>
          </a:xfrm>
          <a:custGeom>
            <a:avLst/>
            <a:gdLst>
              <a:gd name="connsiteX0" fmla="*/ 0 w 1712159"/>
              <a:gd name="connsiteY0" fmla="*/ 1521949 h 1840414"/>
              <a:gd name="connsiteX1" fmla="*/ 54341 w 1712159"/>
              <a:gd name="connsiteY1" fmla="*/ 1394676 h 1840414"/>
              <a:gd name="connsiteX2" fmla="*/ 1142305 w 1712159"/>
              <a:gd name="connsiteY2" fmla="*/ 99739 h 1840414"/>
              <a:gd name="connsiteX3" fmla="*/ 1296074 w 1712159"/>
              <a:gd name="connsiteY3" fmla="*/ 0 h 1840414"/>
              <a:gd name="connsiteX4" fmla="*/ 1712159 w 1712159"/>
              <a:gd name="connsiteY4" fmla="*/ 883211 h 1840414"/>
              <a:gd name="connsiteX5" fmla="*/ 1689496 w 1712159"/>
              <a:gd name="connsiteY5" fmla="*/ 898007 h 1840414"/>
              <a:gd name="connsiteX6" fmla="*/ 1351752 w 1712159"/>
              <a:gd name="connsiteY6" fmla="*/ 1188096 h 1840414"/>
              <a:gd name="connsiteX7" fmla="*/ 1345987 w 1712159"/>
              <a:gd name="connsiteY7" fmla="*/ 1194537 h 1840414"/>
              <a:gd name="connsiteX8" fmla="*/ 1697520 w 1712159"/>
              <a:gd name="connsiteY8" fmla="*/ 1663247 h 1840414"/>
              <a:gd name="connsiteX9" fmla="*/ 1160590 w 1712159"/>
              <a:gd name="connsiteY9" fmla="*/ 1424611 h 1840414"/>
              <a:gd name="connsiteX10" fmla="*/ 1074066 w 1712159"/>
              <a:gd name="connsiteY10" fmla="*/ 1542992 h 1840414"/>
              <a:gd name="connsiteX11" fmla="*/ 927646 w 1712159"/>
              <a:gd name="connsiteY11" fmla="*/ 1811853 h 1840414"/>
              <a:gd name="connsiteX12" fmla="*/ 915577 w 1712159"/>
              <a:gd name="connsiteY12" fmla="*/ 1840414 h 1840414"/>
              <a:gd name="connsiteX0" fmla="*/ 0 w 1712159"/>
              <a:gd name="connsiteY0" fmla="*/ 1521949 h 1840414"/>
              <a:gd name="connsiteX1" fmla="*/ 54341 w 1712159"/>
              <a:gd name="connsiteY1" fmla="*/ 1394676 h 1840414"/>
              <a:gd name="connsiteX2" fmla="*/ 1142305 w 1712159"/>
              <a:gd name="connsiteY2" fmla="*/ 99739 h 1840414"/>
              <a:gd name="connsiteX3" fmla="*/ 1296074 w 1712159"/>
              <a:gd name="connsiteY3" fmla="*/ 0 h 1840414"/>
              <a:gd name="connsiteX4" fmla="*/ 1712159 w 1712159"/>
              <a:gd name="connsiteY4" fmla="*/ 883211 h 1840414"/>
              <a:gd name="connsiteX5" fmla="*/ 1689496 w 1712159"/>
              <a:gd name="connsiteY5" fmla="*/ 898007 h 1840414"/>
              <a:gd name="connsiteX6" fmla="*/ 1351752 w 1712159"/>
              <a:gd name="connsiteY6" fmla="*/ 1188096 h 1840414"/>
              <a:gd name="connsiteX7" fmla="*/ 1345987 w 1712159"/>
              <a:gd name="connsiteY7" fmla="*/ 1194537 h 1840414"/>
              <a:gd name="connsiteX8" fmla="*/ 1160590 w 1712159"/>
              <a:gd name="connsiteY8" fmla="*/ 1424611 h 1840414"/>
              <a:gd name="connsiteX9" fmla="*/ 1074066 w 1712159"/>
              <a:gd name="connsiteY9" fmla="*/ 1542992 h 1840414"/>
              <a:gd name="connsiteX10" fmla="*/ 927646 w 1712159"/>
              <a:gd name="connsiteY10" fmla="*/ 1811853 h 1840414"/>
              <a:gd name="connsiteX11" fmla="*/ 915577 w 1712159"/>
              <a:gd name="connsiteY11" fmla="*/ 1840414 h 1840414"/>
              <a:gd name="connsiteX12" fmla="*/ 0 w 1712159"/>
              <a:gd name="connsiteY12" fmla="*/ 1521949 h 1840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12159" h="1840414">
                <a:moveTo>
                  <a:pt x="0" y="1521949"/>
                </a:moveTo>
                <a:lnTo>
                  <a:pt x="54341" y="1394676"/>
                </a:lnTo>
                <a:cubicBezTo>
                  <a:pt x="301764" y="864040"/>
                  <a:pt x="680602" y="421130"/>
                  <a:pt x="1142305" y="99739"/>
                </a:cubicBezTo>
                <a:lnTo>
                  <a:pt x="1296074" y="0"/>
                </a:lnTo>
                <a:lnTo>
                  <a:pt x="1712159" y="883211"/>
                </a:lnTo>
                <a:lnTo>
                  <a:pt x="1689496" y="898007"/>
                </a:lnTo>
                <a:cubicBezTo>
                  <a:pt x="1568106" y="983061"/>
                  <a:pt x="1454924" y="1080178"/>
                  <a:pt x="1351752" y="1188096"/>
                </a:cubicBezTo>
                <a:lnTo>
                  <a:pt x="1345987" y="1194537"/>
                </a:lnTo>
                <a:lnTo>
                  <a:pt x="1160590" y="1424611"/>
                </a:lnTo>
                <a:lnTo>
                  <a:pt x="1074066" y="1542992"/>
                </a:lnTo>
                <a:cubicBezTo>
                  <a:pt x="1019832" y="1628498"/>
                  <a:pt x="970848" y="1718242"/>
                  <a:pt x="927646" y="1811853"/>
                </a:cubicBezTo>
                <a:lnTo>
                  <a:pt x="915577" y="1840414"/>
                </a:lnTo>
                <a:lnTo>
                  <a:pt x="0" y="152194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ZenIcon1">
            <a:extLst>
              <a:ext uri="{FF2B5EF4-FFF2-40B4-BE49-F238E27FC236}">
                <a16:creationId xmlns:a16="http://schemas.microsoft.com/office/drawing/2014/main" id="{22B3E4B3-7BFE-8B87-6286-792D4DD49BE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411559" y="5183335"/>
            <a:ext cx="452757" cy="452757"/>
            <a:chOff x="5712408" y="975680"/>
            <a:chExt cx="671729" cy="639391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id="{DCAC675C-CAE7-493A-66D9-B6A90F1137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365AB4B-AD2E-E42A-0353-AEA9F6772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4139C658-440E-D0A1-2D1A-9A2CFC80C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4" name="Freeform 29">
              <a:extLst>
                <a:ext uri="{FF2B5EF4-FFF2-40B4-BE49-F238E27FC236}">
                  <a16:creationId xmlns:a16="http://schemas.microsoft.com/office/drawing/2014/main" id="{B9DB6758-310F-5B44-6C00-F6734BAAD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5" name="Freeform 30">
              <a:extLst>
                <a:ext uri="{FF2B5EF4-FFF2-40B4-BE49-F238E27FC236}">
                  <a16:creationId xmlns:a16="http://schemas.microsoft.com/office/drawing/2014/main" id="{866B2161-0A73-276B-B672-C6D6AF68C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6" name="Freeform 31">
              <a:extLst>
                <a:ext uri="{FF2B5EF4-FFF2-40B4-BE49-F238E27FC236}">
                  <a16:creationId xmlns:a16="http://schemas.microsoft.com/office/drawing/2014/main" id="{E977DA06-D2AC-D638-F163-68A42FC05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17" name="ZenIcon2">
            <a:extLst>
              <a:ext uri="{FF2B5EF4-FFF2-40B4-BE49-F238E27FC236}">
                <a16:creationId xmlns:a16="http://schemas.microsoft.com/office/drawing/2014/main" id="{B8DEABFA-34AE-F1F1-5FA4-713262BD725B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587100" y="3774260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18" name="ZenIcon3">
            <a:extLst>
              <a:ext uri="{FF2B5EF4-FFF2-40B4-BE49-F238E27FC236}">
                <a16:creationId xmlns:a16="http://schemas.microsoft.com/office/drawing/2014/main" id="{9B1C1902-6BC6-EF75-EF80-A487E55A861D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833250" y="3039741"/>
            <a:ext cx="452757" cy="45388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9" name="ZenIcon4">
            <a:extLst>
              <a:ext uri="{FF2B5EF4-FFF2-40B4-BE49-F238E27FC236}">
                <a16:creationId xmlns:a16="http://schemas.microsoft.com/office/drawing/2014/main" id="{913084BB-0E26-2EE2-0075-2038CC3415E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839559" y="3759270"/>
            <a:ext cx="452757" cy="452757"/>
            <a:chOff x="-4769427" y="-314325"/>
            <a:chExt cx="4660901" cy="4576762"/>
          </a:xfrm>
        </p:grpSpPr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FD1BEDBE-43C7-B0A7-342B-468EE6C93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D57F202F-DD34-6E65-23A9-579C99052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B338008B-7F4A-FBFE-C3E1-7B4F97EC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646F9C1A-0929-511E-DFAB-5BB9CD630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E844B6F8-633C-F2A2-77CA-93E1CBD66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71641D91-1A91-7ED4-D5E2-296FEF44F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ZenIcon1">
            <a:extLst>
              <a:ext uri="{FF2B5EF4-FFF2-40B4-BE49-F238E27FC236}">
                <a16:creationId xmlns:a16="http://schemas.microsoft.com/office/drawing/2014/main" id="{79801E0D-7ACE-EEFD-C2CD-4B44E1D853B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015100" y="5183335"/>
            <a:ext cx="452757" cy="452757"/>
            <a:chOff x="5712408" y="975680"/>
            <a:chExt cx="671729" cy="639391"/>
          </a:xfrm>
        </p:grpSpPr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B125F32-09C0-961B-7B0F-91FE838F50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27767C5-E1E5-40B5-BE3B-42F022564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EF0394A-B6EF-A95C-5AEB-FFD9A68AC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697542E-B520-A661-9055-8BB0EAE26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7626D53-CA10-2915-B377-D438953B0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DD79E10E-D8BF-EA72-F592-1C1F2BFA1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17ABA95-9B3E-7736-91EC-1C82A1E21F40}"/>
              </a:ext>
            </a:extLst>
          </p:cNvPr>
          <p:cNvGrpSpPr/>
          <p:nvPr/>
        </p:nvGrpSpPr>
        <p:grpSpPr>
          <a:xfrm>
            <a:off x="5101654" y="4614450"/>
            <a:ext cx="1538990" cy="1545630"/>
            <a:chOff x="5326506" y="4614450"/>
            <a:chExt cx="1538990" cy="154563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3841A98-373B-AC16-7A63-69274AEF7C3F}"/>
                </a:ext>
              </a:extLst>
            </p:cNvPr>
            <p:cNvSpPr/>
            <p:nvPr/>
          </p:nvSpPr>
          <p:spPr>
            <a:xfrm flipV="1">
              <a:off x="5326506" y="4614450"/>
              <a:ext cx="1538990" cy="154563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itle 1">
              <a:extLst>
                <a:ext uri="{FF2B5EF4-FFF2-40B4-BE49-F238E27FC236}">
                  <a16:creationId xmlns:a16="http://schemas.microsoft.com/office/drawing/2014/main" id="{02325C2A-A0DA-6781-45A7-53208C1AD98D}"/>
                </a:ext>
              </a:extLst>
            </p:cNvPr>
            <p:cNvSpPr txBox="1">
              <a:spLocks/>
            </p:cNvSpPr>
            <p:nvPr/>
          </p:nvSpPr>
          <p:spPr>
            <a:xfrm>
              <a:off x="5445988" y="5093350"/>
              <a:ext cx="1300026" cy="587830"/>
            </a:xfrm>
            <a:prstGeom prst="rect">
              <a:avLst/>
            </a:prstGeom>
          </p:spPr>
          <p:txBody>
            <a:bodyPr/>
            <a:lstStyle>
              <a:lvl1pPr algn="l" defTabSz="182843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defTabSz="457152">
                <a:buClr>
                  <a:srgbClr val="0070C0"/>
                </a:buClr>
                <a:defRPr/>
              </a:pPr>
              <a:r>
                <a:rPr lang="en-IN" sz="2000" b="1" dirty="0">
                  <a:solidFill>
                    <a:schemeClr val="tx2"/>
                  </a:solidFill>
                  <a:latin typeface="+mn-lt"/>
                  <a:ea typeface="Open Sans ExtraBold" charset="0"/>
                  <a:cs typeface="Open Sans ExtraBold" charset="0"/>
                </a:rPr>
                <a:t>INSERT</a:t>
              </a:r>
              <a:r>
                <a:rPr lang="en-IN" sz="2000" b="1" dirty="0">
                  <a:solidFill>
                    <a:schemeClr val="tx2"/>
                  </a:solidFill>
                  <a:latin typeface="+mn-lt"/>
                </a:rPr>
                <a:t> </a:t>
              </a:r>
              <a:br>
                <a:rPr lang="en-IN" sz="1200" b="1" dirty="0">
                  <a:solidFill>
                    <a:schemeClr val="tx2"/>
                  </a:solidFill>
                  <a:latin typeface="+mn-lt"/>
                </a:rPr>
              </a:br>
              <a:r>
                <a:rPr lang="en-IN" sz="1100" dirty="0">
                  <a:solidFill>
                    <a:schemeClr val="tx2"/>
                  </a:solidFill>
                  <a:latin typeface="+mn-lt"/>
                </a:rPr>
                <a:t>SUB-HEADING</a:t>
              </a:r>
              <a:endParaRPr lang="en-IN" sz="100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78E26106-1119-05C1-4E36-D83FDC60D587}"/>
              </a:ext>
            </a:extLst>
          </p:cNvPr>
          <p:cNvSpPr txBox="1"/>
          <p:nvPr/>
        </p:nvSpPr>
        <p:spPr>
          <a:xfrm>
            <a:off x="404274" y="4724760"/>
            <a:ext cx="2238474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27B901B-713E-8ABF-A7F4-D4BBCEDC4C6F}"/>
              </a:ext>
            </a:extLst>
          </p:cNvPr>
          <p:cNvSpPr txBox="1"/>
          <p:nvPr/>
        </p:nvSpPr>
        <p:spPr>
          <a:xfrm>
            <a:off x="1323192" y="2724406"/>
            <a:ext cx="2320982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B8F57B0-B28D-1FCA-D461-5840E4843050}"/>
              </a:ext>
            </a:extLst>
          </p:cNvPr>
          <p:cNvSpPr txBox="1"/>
          <p:nvPr/>
        </p:nvSpPr>
        <p:spPr>
          <a:xfrm>
            <a:off x="4773789" y="1778418"/>
            <a:ext cx="2571678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9951046-7E6B-B1AC-9CE0-37FC90C96D53}"/>
              </a:ext>
            </a:extLst>
          </p:cNvPr>
          <p:cNvSpPr txBox="1"/>
          <p:nvPr/>
        </p:nvSpPr>
        <p:spPr>
          <a:xfrm>
            <a:off x="8364690" y="2724406"/>
            <a:ext cx="2101881" cy="123794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BEFC7B2-08DA-CDBE-4666-E94453675583}"/>
              </a:ext>
            </a:extLst>
          </p:cNvPr>
          <p:cNvSpPr txBox="1"/>
          <p:nvPr/>
        </p:nvSpPr>
        <p:spPr>
          <a:xfrm>
            <a:off x="9329266" y="4724760"/>
            <a:ext cx="2101881" cy="123794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192186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2</TotalTime>
  <Words>11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5 Semi circl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46</cp:revision>
  <dcterms:created xsi:type="dcterms:W3CDTF">2021-03-31T02:49:57Z</dcterms:created>
  <dcterms:modified xsi:type="dcterms:W3CDTF">2025-10-15T08:26:07Z</dcterms:modified>
  <cp:category/>
</cp:coreProperties>
</file>